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15"/>
  </p:notesMasterIdLst>
  <p:handoutMasterIdLst>
    <p:handoutMasterId r:id="rId16"/>
  </p:handoutMasterIdLst>
  <p:sldIdLst>
    <p:sldId id="309" r:id="rId3"/>
    <p:sldId id="312" r:id="rId4"/>
    <p:sldId id="310" r:id="rId5"/>
    <p:sldId id="313" r:id="rId6"/>
    <p:sldId id="324" r:id="rId7"/>
    <p:sldId id="307" r:id="rId8"/>
    <p:sldId id="314" r:id="rId9"/>
    <p:sldId id="319" r:id="rId10"/>
    <p:sldId id="318" r:id="rId11"/>
    <p:sldId id="323" r:id="rId12"/>
    <p:sldId id="321" r:id="rId13"/>
    <p:sldId id="322" r:id="rId14"/>
  </p:sldIdLst>
  <p:sldSz cx="9144000" cy="6858000" type="screen4x3"/>
  <p:notesSz cx="6810375" cy="9942513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65" autoAdjust="0"/>
    <p:restoredTop sz="94676" autoAdjust="0"/>
  </p:normalViewPr>
  <p:slideViewPr>
    <p:cSldViewPr>
      <p:cViewPr varScale="1">
        <p:scale>
          <a:sx n="95" d="100"/>
          <a:sy n="95" d="100"/>
        </p:scale>
        <p:origin x="-480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693" cy="497444"/>
          </a:xfrm>
          <a:prstGeom prst="rect">
            <a:avLst/>
          </a:prstGeom>
        </p:spPr>
        <p:txBody>
          <a:bodyPr vert="horz" lIns="91586" tIns="45793" rIns="91586" bIns="45793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7092" y="0"/>
            <a:ext cx="2951693" cy="497444"/>
          </a:xfrm>
          <a:prstGeom prst="rect">
            <a:avLst/>
          </a:prstGeom>
        </p:spPr>
        <p:txBody>
          <a:bodyPr vert="horz" lIns="91586" tIns="45793" rIns="91586" bIns="45793" rtlCol="0"/>
          <a:lstStyle>
            <a:lvl1pPr algn="r">
              <a:defRPr sz="1200"/>
            </a:lvl1pPr>
          </a:lstStyle>
          <a:p>
            <a:fld id="{65A7C0DF-B335-42B7-8FDC-AB1D5366F0C8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1" y="9443480"/>
            <a:ext cx="2951693" cy="497444"/>
          </a:xfrm>
          <a:prstGeom prst="rect">
            <a:avLst/>
          </a:prstGeom>
        </p:spPr>
        <p:txBody>
          <a:bodyPr vert="horz" lIns="91586" tIns="45793" rIns="91586" bIns="45793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7092" y="9443480"/>
            <a:ext cx="2951693" cy="497444"/>
          </a:xfrm>
          <a:prstGeom prst="rect">
            <a:avLst/>
          </a:prstGeom>
        </p:spPr>
        <p:txBody>
          <a:bodyPr vert="horz" lIns="91586" tIns="45793" rIns="91586" bIns="45793" rtlCol="0" anchor="b"/>
          <a:lstStyle>
            <a:lvl1pPr algn="r">
              <a:defRPr sz="1200"/>
            </a:lvl1pPr>
          </a:lstStyle>
          <a:p>
            <a:fld id="{B2E68942-6365-4655-A799-E5A980B6B62F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980878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1163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7625" y="1"/>
            <a:ext cx="2951163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44AC6683-190A-4477-88A2-0D8DC1BD83C3}" type="datetimeFigureOut">
              <a:rPr lang="en-US" smtClean="0"/>
              <a:pPr/>
              <a:t>11/30/2016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US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1038" y="4722814"/>
            <a:ext cx="5448300" cy="447357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51163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7625" y="9444038"/>
            <a:ext cx="2951163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1CA82631-94DF-44EC-8153-7F607293FC94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978523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A82631-94DF-44EC-8153-7F607293FC9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915737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A82631-94DF-44EC-8153-7F607293FC9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54289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A82631-94DF-44EC-8153-7F607293FC9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548200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A82631-94DF-44EC-8153-7F607293FC9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22028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A82631-94DF-44EC-8153-7F607293FC9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766942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A82631-94DF-44EC-8153-7F607293FC9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81760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A82631-94DF-44EC-8153-7F607293FC9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808828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A82631-94DF-44EC-8153-7F607293FC9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34796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en-US"/>
          </a:p>
        </p:txBody>
      </p:sp>
      <p:sp>
        <p:nvSpPr>
          <p:cNvPr id="7" name="Titolo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781397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Fare clic sull'icona per inserire un'immagin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2252F7A-7CFB-425B-BDCB-8634909024EB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019127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CBC6CF3-4BDF-439E-AFE7-1D09161B712F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1351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05D8537-E6BF-4F20-A659-AA5744A60EBB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00872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2625725" y="66906"/>
            <a:ext cx="6218238" cy="733425"/>
          </a:xfrm>
          <a:prstGeom prst="rect">
            <a:avLst/>
          </a:prstGeom>
          <a:noFill/>
          <a:ln>
            <a:noFill/>
          </a:ln>
          <a:extLst/>
        </p:spPr>
        <p:txBody>
          <a:bodyPr lIns="54000" tIns="10800" rIns="54000" bIns="10800" anchor="b"/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52925" y="6611938"/>
            <a:ext cx="371475" cy="276225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lang="en-US" sz="1000" kern="120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2853167-766F-44CA-A556-7C6C144BC9FB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6248400" y="6623050"/>
            <a:ext cx="2633663" cy="2460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>
            <a:spAutoFit/>
          </a:bodyPr>
          <a:lstStyle>
            <a:lvl1pPr algn="r">
              <a:defRPr lang="it-IT" sz="1000" b="0" dirty="0">
                <a:solidFill>
                  <a:srgbClr val="46586C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="" xmlns:p14="http://schemas.microsoft.com/office/powerpoint/2010/main" val="77581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1992174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597141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1876529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4983127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34412504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602932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475688A-19B8-4482-A7BF-35E7F8D2EA94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079529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0540831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16513608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14572700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19930215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3554884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3333198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869011"/>
            <a:ext cx="1968500" cy="158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700428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D5E35AA-3DC1-4894-9F6B-65805C002382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27814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992D0D9-D482-44A4-B540-F03FB15E9359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190773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629D8E8-731C-4FA9-8C79-F1D972843372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799861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FB5A98D-8D1F-443A-BB70-1352B091A4C9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85770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E17E69-04F5-4E7C-B793-C97B58DEA8A7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886825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A67469-5DC9-4E77-9DE2-1B63D7605DB5}" type="datetime1">
              <a:rPr lang="it-IT" smtClean="0">
                <a:solidFill>
                  <a:prstClr val="black"/>
                </a:solidFill>
              </a:rPr>
              <a:pPr/>
              <a:t>30/11/201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38342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0" y="5589237"/>
            <a:ext cx="9158766" cy="128353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0" y="0"/>
            <a:ext cx="9144000" cy="33665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0" y="0"/>
            <a:ext cx="381000" cy="64897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8777766" y="0"/>
            <a:ext cx="381000" cy="64897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770799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6" r:id="rId1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629721-50AC-4914-B300-E2BB9938A4D2}" type="datetimeFigureOut">
              <a:rPr lang="it-IT" smtClean="0"/>
              <a:pPr/>
              <a:t>30/11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AD49AD-2A00-48B1-9C13-FC9AD0010A6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3819607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mailto:smartliving@regione.lombardia.it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 txBox="1">
            <a:spLocks/>
          </p:cNvSpPr>
          <p:nvPr/>
        </p:nvSpPr>
        <p:spPr>
          <a:xfrm>
            <a:off x="453689" y="1988840"/>
            <a:ext cx="8229600" cy="15841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4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608049" y="1111677"/>
            <a:ext cx="7920880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2800" b="1" dirty="0">
                <a:latin typeface="Helvetica" panose="020B0604020202020204" pitchFamily="34" charset="0"/>
                <a:cs typeface="Helvetica" panose="020B0604020202020204" pitchFamily="34" charset="0"/>
              </a:rPr>
              <a:t>INCONTRO PRESENTAZIONE</a:t>
            </a:r>
          </a:p>
          <a:p>
            <a:pPr algn="ctr"/>
            <a:r>
              <a:rPr lang="it-IT" sz="2800" b="1" dirty="0">
                <a:latin typeface="Helvetica" panose="020B0604020202020204" pitchFamily="34" charset="0"/>
                <a:cs typeface="Helvetica" panose="020B0604020202020204" pitchFamily="34" charset="0"/>
              </a:rPr>
              <a:t>BANDO “SMART LIVING</a:t>
            </a:r>
            <a:r>
              <a:rPr lang="it-IT" sz="28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”</a:t>
            </a:r>
          </a:p>
          <a:p>
            <a:pPr algn="ctr"/>
            <a:endParaRPr lang="it-IT" sz="10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it-IT" sz="2400" b="1" dirty="0">
                <a:latin typeface="Helvetica" panose="020B0604020202020204" pitchFamily="34" charset="0"/>
                <a:cs typeface="Helvetica" panose="020B0604020202020204" pitchFamily="34" charset="0"/>
              </a:rPr>
              <a:t>giovedì 1 dicembre </a:t>
            </a:r>
            <a:r>
              <a:rPr lang="it-IT" sz="24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2016</a:t>
            </a:r>
          </a:p>
          <a:p>
            <a:pPr algn="ctr"/>
            <a:endParaRPr lang="it-IT" sz="24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it-IT" sz="2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NCE Lombardia</a:t>
            </a:r>
          </a:p>
          <a:p>
            <a:pPr algn="ctr"/>
            <a:r>
              <a:rPr lang="it-IT" sz="2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/o </a:t>
            </a:r>
            <a:r>
              <a:rPr lang="it-IT" sz="2000" b="1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Assimpredil</a:t>
            </a:r>
            <a:r>
              <a:rPr lang="it-IT" sz="2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ANCE, </a:t>
            </a:r>
            <a:r>
              <a:rPr lang="it-IT" sz="2000" b="1" dirty="0">
                <a:latin typeface="Helvetica" panose="020B0604020202020204" pitchFamily="34" charset="0"/>
                <a:cs typeface="Helvetica" panose="020B0604020202020204" pitchFamily="34" charset="0"/>
              </a:rPr>
              <a:t>via San Maurilio 21, Milano</a:t>
            </a:r>
            <a:endParaRPr lang="it-IT" sz="2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1547664" y="4011261"/>
            <a:ext cx="64807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2400" b="1" dirty="0">
                <a:solidFill>
                  <a:srgbClr val="3D4C5D"/>
                </a:solidFill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Paola </a:t>
            </a:r>
            <a:r>
              <a:rPr lang="it-IT" sz="2400" b="1" dirty="0" smtClean="0">
                <a:solidFill>
                  <a:srgbClr val="3D4C5D"/>
                </a:solidFill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Negroni</a:t>
            </a:r>
          </a:p>
          <a:p>
            <a:pPr lvl="0" algn="ctr"/>
            <a:r>
              <a:rPr lang="it-IT" sz="2400" b="1" dirty="0" smtClean="0">
                <a:solidFill>
                  <a:srgbClr val="3D4C5D"/>
                </a:solidFill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Regione Lombardia</a:t>
            </a:r>
            <a:endParaRPr lang="it-IT" sz="2400" b="1" dirty="0">
              <a:solidFill>
                <a:srgbClr val="3D4C5D"/>
              </a:solidFill>
              <a:latin typeface="Helvetica" panose="020B0604020202020204" pitchFamily="34" charset="0"/>
              <a:ea typeface="+mj-ea"/>
              <a:cs typeface="Helvetica" panose="020B0604020202020204" pitchFamily="34" charset="0"/>
            </a:endParaRPr>
          </a:p>
          <a:p>
            <a:pPr lvl="0" algn="ctr"/>
            <a:r>
              <a:rPr lang="it-IT" sz="2400" b="1" dirty="0">
                <a:solidFill>
                  <a:srgbClr val="3D4C5D"/>
                </a:solidFill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Dirigente UO Competitività, Sviluppo e Accesso al Credito </a:t>
            </a:r>
          </a:p>
        </p:txBody>
      </p:sp>
    </p:spTree>
    <p:extLst>
      <p:ext uri="{BB962C8B-B14F-4D97-AF65-F5344CB8AC3E}">
        <p14:creationId xmlns="" xmlns:p14="http://schemas.microsoft.com/office/powerpoint/2010/main" val="4018741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 txBox="1">
            <a:spLocks/>
          </p:cNvSpPr>
          <p:nvPr/>
        </p:nvSpPr>
        <p:spPr>
          <a:xfrm>
            <a:off x="453689" y="1988840"/>
            <a:ext cx="8229600" cy="15841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4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395536" y="308164"/>
            <a:ext cx="835292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it-IT" sz="2200" b="1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RITERI DI VALUTAZIONE</a:t>
            </a:r>
            <a:endParaRPr lang="it-IT" sz="2200" b="1" dirty="0">
              <a:solidFill>
                <a:srgbClr val="0075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it-IT" dirty="0" smtClean="0">
                <a:solidFill>
                  <a:prstClr val="black"/>
                </a:solidFill>
              </a:rPr>
              <a:t>8</a:t>
            </a: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395536" y="704717"/>
            <a:ext cx="8352928" cy="6324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700" b="1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QUALITA’ PROGETTUALE</a:t>
            </a:r>
          </a:p>
          <a:p>
            <a:pPr marL="357188" lvl="0" indent="-174625">
              <a:buFont typeface="Arial" panose="020B0604020202020204" pitchFamily="34" charset="0"/>
              <a:buChar char="•"/>
              <a:defRPr/>
            </a:pP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stenibilità e potenzialità</a:t>
            </a:r>
          </a:p>
          <a:p>
            <a:pPr marL="357188" lvl="0" indent="-174625">
              <a:buFont typeface="Arial" panose="020B0604020202020204" pitchFamily="34" charset="0"/>
              <a:buChar char="•"/>
              <a:defRPr/>
            </a:pP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erenza dei costi</a:t>
            </a:r>
          </a:p>
          <a:p>
            <a:pPr marL="538163" lvl="0" indent="-538163">
              <a:spcBef>
                <a:spcPts val="600"/>
              </a:spcBef>
              <a:defRPr/>
            </a:pPr>
            <a:r>
              <a:rPr lang="it-IT" sz="1700" b="1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RADO </a:t>
            </a:r>
            <a:r>
              <a:rPr lang="it-IT" sz="1700" b="1" dirty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 </a:t>
            </a:r>
            <a:r>
              <a:rPr lang="it-IT" sz="1700" b="1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NOVAZIONE</a:t>
            </a:r>
          </a:p>
          <a:p>
            <a:pPr marL="357188" indent="-174625">
              <a:buFont typeface="Arial" panose="020B0604020202020204" pitchFamily="34" charset="0"/>
              <a:buChar char="•"/>
              <a:defRPr/>
            </a:pP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ivelli </a:t>
            </a:r>
            <a:r>
              <a:rPr lang="it-IT" sz="1700" dirty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crementali dell’operazione rispetto allo stato dell’arte</a:t>
            </a:r>
          </a:p>
          <a:p>
            <a:pPr marL="538163" indent="-355600">
              <a:spcBef>
                <a:spcPts val="600"/>
              </a:spcBef>
              <a:defRPr/>
            </a:pPr>
            <a:r>
              <a:rPr lang="it-IT" sz="1700" b="1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QUALITA</a:t>
            </a:r>
            <a:r>
              <a:rPr lang="it-IT" sz="1700" b="1" dirty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’ </a:t>
            </a:r>
            <a:r>
              <a:rPr lang="it-IT" sz="1700" b="1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LL’ORGANIZZAZIONE</a:t>
            </a:r>
          </a:p>
          <a:p>
            <a:pPr marL="357188" lvl="0" indent="-174625" algn="just">
              <a:buFont typeface="Arial" panose="020B0604020202020204" pitchFamily="34" charset="0"/>
              <a:buChar char="•"/>
              <a:defRPr/>
            </a:pPr>
            <a:r>
              <a:rPr lang="it-IT" sz="1700" dirty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Qualità del management in relazione agli obiettivi e al contenuto </a:t>
            </a: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l­l’o­pe­ra­zio­ne </a:t>
            </a:r>
          </a:p>
          <a:p>
            <a:pPr marL="357188" lvl="0" indent="-174625" algn="just">
              <a:buFont typeface="Arial" panose="020B0604020202020204" pitchFamily="34" charset="0"/>
              <a:buChar char="•"/>
              <a:defRPr/>
            </a:pP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Qualità </a:t>
            </a:r>
            <a:r>
              <a:rPr lang="it-IT" sz="1700" dirty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l team dedicato alla realizzazione </a:t>
            </a: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ll’operazione </a:t>
            </a:r>
          </a:p>
          <a:p>
            <a:pPr marL="357188" lvl="0" indent="-174625" algn="just">
              <a:buFont typeface="Arial" panose="020B0604020202020204" pitchFamily="34" charset="0"/>
              <a:buChar char="•"/>
              <a:defRPr/>
            </a:pP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ivello </a:t>
            </a:r>
            <a:r>
              <a:rPr lang="it-IT" sz="1700" dirty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 miglioramento del profilo tecnico-scientifico-pro­fes­sio­na­le del personale </a:t>
            </a:r>
          </a:p>
          <a:p>
            <a:pPr lvl="0">
              <a:spcBef>
                <a:spcPts val="1200"/>
              </a:spcBef>
              <a:defRPr/>
            </a:pPr>
            <a:r>
              <a:rPr lang="it-IT" sz="1900" b="1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EMIALITA’</a:t>
            </a:r>
            <a:endParaRPr lang="it-IT" sz="1900" b="1" dirty="0">
              <a:solidFill>
                <a:srgbClr val="0075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179388" lvl="0" indent="-163513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getto che sviluppa sistemi e tecnologie atte a </a:t>
            </a:r>
            <a:r>
              <a:rPr lang="it-IT" sz="1700" b="1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idurre i costi di produzione </a:t>
            </a: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ttraverso il risparmio e la maggiore efficienza nell’impiego delle materie prime e/o la riduzione degli scarti e dei rifiuti delle lavorazioni</a:t>
            </a:r>
          </a:p>
          <a:p>
            <a:pPr marL="179388" lvl="0" indent="-163513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getto che sviluppa soluzioni nell’ottica dell’</a:t>
            </a:r>
            <a:r>
              <a:rPr lang="it-IT" sz="1700" b="1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conomia circolare</a:t>
            </a: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che consentono di prolungare l’uso dei materiali e prodotti, favorendone e incentivandone il riutilizzo e riciclo, ai fini del raggiungimento della loro sostenibilità economica</a:t>
            </a:r>
          </a:p>
          <a:p>
            <a:pPr marL="179388" lvl="0" indent="-163513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getto che sviluppa soluzioni innovative per la </a:t>
            </a:r>
            <a:r>
              <a:rPr lang="it-IT" sz="1700" b="1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iqualificazione interna ed esterna </a:t>
            </a:r>
            <a:r>
              <a:rPr lang="it-IT" sz="1700" dirty="0" smtClean="0">
                <a:solidFill>
                  <a:prstClr val="black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inalizzate al miglioramento della performance ambientale degli stessi </a:t>
            </a:r>
          </a:p>
          <a:p>
            <a:pPr lvl="0">
              <a:defRPr/>
            </a:pPr>
            <a:endParaRPr lang="it-IT" sz="1700" dirty="0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lvl="0">
              <a:defRPr/>
            </a:pPr>
            <a:endParaRPr lang="it-IT" sz="2400" dirty="0" smtClean="0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lvl="0">
              <a:defRPr/>
            </a:pPr>
            <a:endParaRPr lang="it-IT" sz="2100" dirty="0">
              <a:solidFill>
                <a:prstClr val="black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617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1"/>
          <p:cNvSpPr>
            <a:spLocks noChangeArrowheads="1"/>
          </p:cNvSpPr>
          <p:nvPr/>
        </p:nvSpPr>
        <p:spPr bwMode="auto">
          <a:xfrm>
            <a:off x="364067" y="402432"/>
            <a:ext cx="8390466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it-IT" altLang="it-IT" sz="2600" b="1" dirty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odalità di partecipazione al Bando</a:t>
            </a:r>
          </a:p>
          <a:p>
            <a:pPr algn="ctr" eaLnBrk="1" hangingPunct="1"/>
            <a:r>
              <a:rPr lang="it-IT" altLang="it-IT" sz="2600" b="1" dirty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AGE</a:t>
            </a: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9" cstate="print"/>
          <a:srcRect l="18059" t="11766" r="17231" b="4361"/>
          <a:stretch/>
        </p:blipFill>
        <p:spPr>
          <a:xfrm>
            <a:off x="2585132" y="1913465"/>
            <a:ext cx="3948336" cy="2878667"/>
          </a:xfrm>
          <a:prstGeom prst="rect">
            <a:avLst/>
          </a:prstGeom>
        </p:spPr>
      </p:pic>
      <p:sp>
        <p:nvSpPr>
          <p:cNvPr id="6" name="AutoShape 13"/>
          <p:cNvSpPr>
            <a:spLocks noChangeArrowheads="1"/>
          </p:cNvSpPr>
          <p:nvPr/>
        </p:nvSpPr>
        <p:spPr bwMode="black">
          <a:xfrm rot="16200000">
            <a:off x="742824" y="3032293"/>
            <a:ext cx="2712117" cy="641008"/>
          </a:xfrm>
          <a:prstGeom prst="triangle">
            <a:avLst>
              <a:gd name="adj" fmla="val 50000"/>
            </a:avLst>
          </a:prstGeom>
          <a:solidFill>
            <a:srgbClr val="CCCC99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45791" dir="2021404" algn="ctr" rotWithShape="0">
                    <a:srgbClr val="000000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algn="ctr">
              <a:spcBef>
                <a:spcPct val="0"/>
              </a:spcBef>
            </a:pPr>
            <a:endParaRPr lang="zh-CN" altLang="en-US" sz="2400">
              <a:ea typeface="宋体" pitchFamily="2" charset="-122"/>
            </a:endParaRPr>
          </a:p>
        </p:txBody>
      </p:sp>
      <p:sp>
        <p:nvSpPr>
          <p:cNvPr id="7" name="AutoShape 13"/>
          <p:cNvSpPr>
            <a:spLocks noChangeArrowheads="1"/>
          </p:cNvSpPr>
          <p:nvPr/>
        </p:nvSpPr>
        <p:spPr bwMode="black">
          <a:xfrm rot="5400000">
            <a:off x="5568825" y="2947629"/>
            <a:ext cx="2712117" cy="641008"/>
          </a:xfrm>
          <a:prstGeom prst="triangle">
            <a:avLst>
              <a:gd name="adj" fmla="val 50000"/>
            </a:avLst>
          </a:prstGeom>
          <a:solidFill>
            <a:srgbClr val="CCCC99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45791" dir="2021404" algn="ctr" rotWithShape="0">
                    <a:srgbClr val="000000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algn="ctr">
              <a:spcBef>
                <a:spcPct val="0"/>
              </a:spcBef>
            </a:pPr>
            <a:endParaRPr lang="zh-CN" altLang="en-US" sz="2400">
              <a:ea typeface="宋体" pitchFamily="2" charset="-122"/>
            </a:endParaRPr>
          </a:p>
        </p:txBody>
      </p:sp>
      <p:sp>
        <p:nvSpPr>
          <p:cNvPr id="8" name="Textfram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4068" y="3243639"/>
            <a:ext cx="2026650" cy="307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0" rIns="0" bIns="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buClr>
                <a:srgbClr val="000000"/>
              </a:buClr>
              <a:buSzPct val="100000"/>
              <a:buFont typeface="Arial"/>
              <a:buNone/>
              <a:defRPr/>
            </a:pPr>
            <a:r>
              <a:rPr lang="en-US" altLang="de-DE" sz="2000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FILAZIONE</a:t>
            </a:r>
          </a:p>
        </p:txBody>
      </p:sp>
      <p:sp>
        <p:nvSpPr>
          <p:cNvPr id="9" name="Textfram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423401" y="3253911"/>
            <a:ext cx="1891181" cy="307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0" rIns="0" bIns="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buClr>
                <a:srgbClr val="000000"/>
              </a:buClr>
              <a:buSzPct val="100000"/>
              <a:buFont typeface="Arial"/>
              <a:buNone/>
              <a:defRPr/>
            </a:pPr>
            <a:r>
              <a:rPr lang="en-US" altLang="de-DE" sz="2000" dirty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PERTURA</a:t>
            </a:r>
          </a:p>
        </p:txBody>
      </p:sp>
      <p:sp>
        <p:nvSpPr>
          <p:cNvPr id="10" name="Textfram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09184" y="4191614"/>
            <a:ext cx="1243609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0" rIns="0" bIns="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buClr>
                <a:srgbClr val="000000"/>
              </a:buClr>
              <a:buSzPct val="100000"/>
              <a:buFont typeface="Arial"/>
              <a:buNone/>
              <a:defRPr/>
            </a:pPr>
            <a:r>
              <a:rPr lang="en-US" altLang="de-DE" sz="2400" dirty="0" smtClean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° step</a:t>
            </a:r>
          </a:p>
        </p:txBody>
      </p:sp>
      <p:sp>
        <p:nvSpPr>
          <p:cNvPr id="11" name="Textfram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747186" y="4242869"/>
            <a:ext cx="1243609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0" rIns="0" bIns="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buClr>
                <a:srgbClr val="000000"/>
              </a:buClr>
              <a:buSzPct val="100000"/>
              <a:defRPr/>
            </a:pPr>
            <a:r>
              <a:rPr lang="en-US" altLang="de-DE" sz="24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° step</a:t>
            </a:r>
          </a:p>
        </p:txBody>
      </p:sp>
      <p:sp>
        <p:nvSpPr>
          <p:cNvPr id="12" name="Textfram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86771" y="4902134"/>
            <a:ext cx="2967761" cy="73866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0" rIns="0" bIns="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79388">
              <a:buClr>
                <a:srgbClr val="000000"/>
              </a:buClr>
              <a:buSzPct val="100000"/>
              <a:buFont typeface="Arial"/>
              <a:buNone/>
              <a:tabLst>
                <a:tab pos="0" algn="l"/>
                <a:tab pos="90488" algn="l"/>
                <a:tab pos="628650" algn="l"/>
              </a:tabLst>
              <a:defRPr/>
            </a:pPr>
            <a:r>
              <a:rPr lang="en-US" altLang="de-DE" sz="2400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lle </a:t>
            </a:r>
            <a:r>
              <a:rPr lang="it-IT" sz="2400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re 12</a:t>
            </a:r>
          </a:p>
          <a:p>
            <a:pPr algn="ctr" defTabSz="179388">
              <a:buClr>
                <a:srgbClr val="000000"/>
              </a:buClr>
              <a:buSzPct val="100000"/>
              <a:buFont typeface="Arial"/>
              <a:buNone/>
              <a:tabLst>
                <a:tab pos="0" algn="l"/>
                <a:tab pos="90488" algn="l"/>
                <a:tab pos="628650" algn="l"/>
              </a:tabLst>
              <a:defRPr/>
            </a:pPr>
            <a:r>
              <a:rPr lang="it-IT" sz="2400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l </a:t>
            </a:r>
            <a:r>
              <a:rPr lang="en-US" sz="2400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 </a:t>
            </a:r>
            <a:r>
              <a:rPr lang="en-US" sz="2400" dirty="0" err="1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ebbraio</a:t>
            </a:r>
            <a:r>
              <a:rPr lang="en-US" sz="2400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2017</a:t>
            </a:r>
            <a:endParaRPr lang="en-US" altLang="de-DE" sz="2400" dirty="0">
              <a:solidFill>
                <a:srgbClr val="0075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3" name="Textfram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64067" y="4988491"/>
            <a:ext cx="1891181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0" rIns="0" bIns="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buClr>
                <a:srgbClr val="000000"/>
              </a:buClr>
              <a:buSzPct val="100000"/>
              <a:buFont typeface="Arial"/>
              <a:buNone/>
              <a:defRPr/>
            </a:pPr>
            <a:r>
              <a:rPr lang="en-US" altLang="de-DE" sz="2400" dirty="0" err="1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ià</a:t>
            </a:r>
            <a:r>
              <a:rPr lang="en-US" altLang="de-DE" sz="2400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a </a:t>
            </a:r>
            <a:r>
              <a:rPr lang="en-US" altLang="de-DE" sz="2400" dirty="0" err="1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ra</a:t>
            </a:r>
            <a:endParaRPr lang="en-US" altLang="de-DE" sz="2400" dirty="0" smtClean="0">
              <a:solidFill>
                <a:srgbClr val="0075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it-IT" dirty="0" smtClean="0">
                <a:solidFill>
                  <a:prstClr val="black"/>
                </a:solidFill>
              </a:rPr>
              <a:t>9</a:t>
            </a:r>
          </a:p>
          <a:p>
            <a:pPr algn="r"/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41251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olo 1"/>
          <p:cNvSpPr>
            <a:spLocks noGrp="1"/>
          </p:cNvSpPr>
          <p:nvPr>
            <p:ph type="title"/>
          </p:nvPr>
        </p:nvSpPr>
        <p:spPr>
          <a:xfrm>
            <a:off x="395288" y="317497"/>
            <a:ext cx="8353176" cy="1200329"/>
          </a:xfr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it-IT" altLang="it-IT" sz="2400" b="1" dirty="0" smtClean="0">
                <a:solidFill>
                  <a:srgbClr val="00750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Il bando è scaricabile dal sito </a:t>
            </a:r>
            <a:br>
              <a:rPr lang="it-IT" altLang="it-IT" sz="2400" b="1" dirty="0" smtClean="0">
                <a:solidFill>
                  <a:srgbClr val="00750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</a:br>
            <a:r>
              <a:rPr lang="it-IT" altLang="it-IT" sz="2400" b="1" u="sng" dirty="0">
                <a:solidFill>
                  <a:srgbClr val="00750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http://www.sviluppoeconomico.regione.lombardia.it</a:t>
            </a:r>
          </a:p>
        </p:txBody>
      </p:sp>
      <p:sp>
        <p:nvSpPr>
          <p:cNvPr id="2" name="Rettangolo 1"/>
          <p:cNvSpPr/>
          <p:nvPr/>
        </p:nvSpPr>
        <p:spPr>
          <a:xfrm>
            <a:off x="467420" y="1567302"/>
            <a:ext cx="8085336" cy="4690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siti</a:t>
            </a: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inenti</a:t>
            </a: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e</a:t>
            </a: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alità</a:t>
            </a: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i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ntazione</a:t>
            </a: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lle</a:t>
            </a: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mande</a:t>
            </a: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i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tecipazione</a:t>
            </a: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 </a:t>
            </a:r>
            <a:r>
              <a:rPr lang="en-US" sz="22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ndo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</a:pPr>
            <a:r>
              <a:rPr lang="it-IT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22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r>
              <a:rPr lang="en-US" sz="22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2"/>
              </a:rPr>
              <a:t>smartliving@regione.lombardia.it</a:t>
            </a:r>
            <a:endParaRPr lang="it-IT" sz="22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22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r </a:t>
            </a:r>
            <a:r>
              <a:rPr lang="it-IT" sz="22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e richieste di assistenza tecnica alla compilazione on-line e per i quesiti di ordine tecnico sulle procedure informatizzate: </a:t>
            </a:r>
            <a:endParaRPr lang="it-IT" sz="2200" b="1" dirty="0" smtClean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2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all </a:t>
            </a:r>
            <a:r>
              <a:rPr lang="it-IT" sz="2200" b="1" dirty="0">
                <a:latin typeface="Helvetica" panose="020B0604020202020204" pitchFamily="34" charset="0"/>
                <a:cs typeface="Helvetica" panose="020B0604020202020204" pitchFamily="34" charset="0"/>
              </a:rPr>
              <a:t>Center di Lombardia Informatica </a:t>
            </a:r>
            <a:r>
              <a:rPr lang="it-IT" sz="2200" dirty="0">
                <a:latin typeface="Helvetica" panose="020B0604020202020204" pitchFamily="34" charset="0"/>
                <a:cs typeface="Helvetica" panose="020B0604020202020204" pitchFamily="34" charset="0"/>
              </a:rPr>
              <a:t>al numero verde 800.131.151 operativo dal lunedì al sabato, escluso i festivi, dalle ore 8.00 alle ore </a:t>
            </a:r>
            <a:r>
              <a:rPr lang="it-IT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20.00</a:t>
            </a:r>
          </a:p>
          <a:p>
            <a:pPr marL="285750" indent="-285750" algn="just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Per </a:t>
            </a:r>
            <a:r>
              <a:rPr lang="it-IT" sz="2200" dirty="0">
                <a:latin typeface="Helvetica" panose="020B0604020202020204" pitchFamily="34" charset="0"/>
                <a:cs typeface="Helvetica" panose="020B0604020202020204" pitchFamily="34" charset="0"/>
              </a:rPr>
              <a:t>quesiti inerenti </a:t>
            </a:r>
            <a:r>
              <a:rPr lang="it-IT" sz="2200" b="1" dirty="0">
                <a:latin typeface="Helvetica" panose="020B0604020202020204" pitchFamily="34" charset="0"/>
                <a:cs typeface="Helvetica" panose="020B0604020202020204" pitchFamily="34" charset="0"/>
              </a:rPr>
              <a:t>l’assistenza tecnica alla compilazione on line</a:t>
            </a:r>
            <a:r>
              <a:rPr lang="it-IT" sz="2200" dirty="0">
                <a:latin typeface="Helvetica" panose="020B0604020202020204" pitchFamily="34" charset="0"/>
                <a:cs typeface="Helvetica" panose="020B0604020202020204" pitchFamily="34" charset="0"/>
              </a:rPr>
              <a:t>, il call center è operativo dal lunedì al sabato, escluso i festivi, dalle ore 8.30 alle ore 17.00</a:t>
            </a:r>
            <a:r>
              <a:rPr lang="it-IT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.</a:t>
            </a:r>
          </a:p>
        </p:txBody>
      </p:sp>
      <p:sp>
        <p:nvSpPr>
          <p:cNvPr id="6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it-IT" dirty="0" smtClean="0">
                <a:solidFill>
                  <a:prstClr val="black"/>
                </a:solidFill>
              </a:rPr>
              <a:t>10</a:t>
            </a:r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99131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/>
          <p:cNvSpPr/>
          <p:nvPr/>
        </p:nvSpPr>
        <p:spPr>
          <a:xfrm>
            <a:off x="1937367" y="768329"/>
            <a:ext cx="554461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  </a:t>
            </a:r>
            <a:endParaRPr lang="it-IT" sz="2200" b="1" dirty="0">
              <a:solidFill>
                <a:schemeClr val="bg1"/>
              </a:solidFill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1259632" y="914627"/>
            <a:ext cx="6624736" cy="1189686"/>
            <a:chOff x="1259632" y="570776"/>
            <a:chExt cx="6624736" cy="1583472"/>
          </a:xfrm>
        </p:grpSpPr>
        <p:sp>
          <p:nvSpPr>
            <p:cNvPr id="6" name="Rettangolo arrotondato 5"/>
            <p:cNvSpPr/>
            <p:nvPr/>
          </p:nvSpPr>
          <p:spPr>
            <a:xfrm>
              <a:off x="1259632" y="570776"/>
              <a:ext cx="6624736" cy="1176144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2200" b="1" dirty="0">
                  <a:latin typeface="Helvetica" panose="020B0604020202020204" pitchFamily="34" charset="0"/>
                  <a:cs typeface="Helvetica" panose="020B0604020202020204" pitchFamily="34" charset="0"/>
                </a:rPr>
                <a:t>l.r. 11/2014 </a:t>
              </a:r>
              <a:r>
                <a:rPr lang="it-IT" sz="2200" i="1" dirty="0">
                  <a:latin typeface="Helvetica" panose="020B0604020202020204" pitchFamily="34" charset="0"/>
                  <a:cs typeface="Helvetica" panose="020B0604020202020204" pitchFamily="34" charset="0"/>
                </a:rPr>
                <a:t>“Impresa Lombardia: per</a:t>
              </a:r>
            </a:p>
            <a:p>
              <a:pPr algn="ctr"/>
              <a:r>
                <a:rPr lang="it-IT" sz="2200" i="1" dirty="0">
                  <a:latin typeface="Helvetica" panose="020B0604020202020204" pitchFamily="34" charset="0"/>
                  <a:cs typeface="Helvetica" panose="020B0604020202020204" pitchFamily="34" charset="0"/>
                </a:rPr>
                <a:t>la libertà di impresa, il lavoro e la competitività”</a:t>
              </a:r>
              <a:endParaRPr lang="it-IT" sz="22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Isosceles Triangle 29"/>
            <p:cNvSpPr/>
            <p:nvPr/>
          </p:nvSpPr>
          <p:spPr bwMode="auto">
            <a:xfrm rot="10800000">
              <a:off x="3419872" y="1770920"/>
              <a:ext cx="1872000" cy="383328"/>
            </a:xfrm>
            <a:prstGeom prst="triangle">
              <a:avLst/>
            </a:prstGeom>
            <a:solidFill>
              <a:srgbClr val="009950"/>
            </a:solidFill>
            <a:ln w="12700" cap="flat" cmpd="sng" algn="ctr">
              <a:solidFill>
                <a:srgbClr val="0099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36000" rIns="18000" bIns="36000" numCol="1" anchor="ctr" anchorCtr="1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0" name="Rettangolo arrotondato 29"/>
          <p:cNvSpPr/>
          <p:nvPr/>
        </p:nvSpPr>
        <p:spPr>
          <a:xfrm>
            <a:off x="1259632" y="3354568"/>
            <a:ext cx="6720588" cy="1046995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endParaRPr lang="it-IT" dirty="0"/>
          </a:p>
        </p:txBody>
      </p:sp>
      <p:sp>
        <p:nvSpPr>
          <p:cNvPr id="29" name="CasellaDiTesto 28"/>
          <p:cNvSpPr txBox="1"/>
          <p:nvPr/>
        </p:nvSpPr>
        <p:spPr>
          <a:xfrm>
            <a:off x="1541845" y="3378551"/>
            <a:ext cx="634252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200" dirty="0">
                <a:latin typeface="Helvetica" panose="020B0604020202020204" pitchFamily="34" charset="0"/>
                <a:cs typeface="Helvetica" panose="020B0604020202020204" pitchFamily="34" charset="0"/>
              </a:rPr>
              <a:t>Strategia </a:t>
            </a:r>
            <a:r>
              <a:rPr lang="it-IT" sz="2200" b="1" dirty="0">
                <a:latin typeface="Helvetica" panose="020B0604020202020204" pitchFamily="34" charset="0"/>
                <a:cs typeface="Helvetica" panose="020B0604020202020204" pitchFamily="34" charset="0"/>
              </a:rPr>
              <a:t>“LOMBARDIA 5.0”</a:t>
            </a:r>
            <a:r>
              <a:rPr lang="it-IT" sz="2200" dirty="0">
                <a:latin typeface="Helvetica" panose="020B0604020202020204" pitchFamily="34" charset="0"/>
                <a:cs typeface="Helvetica" panose="020B0604020202020204" pitchFamily="34" charset="0"/>
              </a:rPr>
              <a:t> – Politiche per il consolidamento e la valorizzazione delle </a:t>
            </a:r>
            <a:r>
              <a:rPr lang="it-IT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filiere eccellenti lombarde</a:t>
            </a:r>
            <a:endParaRPr lang="it-IT" sz="2200" dirty="0"/>
          </a:p>
        </p:txBody>
      </p:sp>
      <p:sp>
        <p:nvSpPr>
          <p:cNvPr id="31" name="Isosceles Triangle 29"/>
          <p:cNvSpPr/>
          <p:nvPr/>
        </p:nvSpPr>
        <p:spPr bwMode="auto">
          <a:xfrm rot="10800000">
            <a:off x="3652641" y="4448671"/>
            <a:ext cx="1872000" cy="348480"/>
          </a:xfrm>
          <a:prstGeom prst="triangle">
            <a:avLst/>
          </a:prstGeom>
          <a:solidFill>
            <a:srgbClr val="009950"/>
          </a:solidFill>
          <a:ln w="12700" cap="flat" cmpd="sng" algn="ctr">
            <a:solidFill>
              <a:srgbClr val="0099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anchor="ctr" anchorCtr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ttangolo arrotondato 32"/>
          <p:cNvSpPr/>
          <p:nvPr/>
        </p:nvSpPr>
        <p:spPr>
          <a:xfrm>
            <a:off x="1259633" y="4835850"/>
            <a:ext cx="6751622" cy="8442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2" name="CasellaDiTesto 31"/>
          <p:cNvSpPr txBox="1"/>
          <p:nvPr/>
        </p:nvSpPr>
        <p:spPr>
          <a:xfrm>
            <a:off x="1519313" y="4841222"/>
            <a:ext cx="646090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2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cosistemi</a:t>
            </a:r>
            <a:r>
              <a:rPr lang="it-IT" sz="24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sz="22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ubblico-privato per lo sviluppo e la competitività dell’impresa lombarda</a:t>
            </a:r>
            <a:endParaRPr lang="it-IT" sz="2200" dirty="0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7" name="Gruppo 16"/>
          <p:cNvGrpSpPr/>
          <p:nvPr/>
        </p:nvGrpSpPr>
        <p:grpSpPr>
          <a:xfrm>
            <a:off x="1259632" y="2128384"/>
            <a:ext cx="6624736" cy="1189686"/>
            <a:chOff x="1107232" y="570776"/>
            <a:chExt cx="6624736" cy="1583472"/>
          </a:xfrm>
        </p:grpSpPr>
        <p:sp>
          <p:nvSpPr>
            <p:cNvPr id="18" name="Rettangolo arrotondato 17"/>
            <p:cNvSpPr/>
            <p:nvPr/>
          </p:nvSpPr>
          <p:spPr>
            <a:xfrm>
              <a:off x="1107232" y="570776"/>
              <a:ext cx="6624736" cy="1176143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" name="Isosceles Triangle 29"/>
            <p:cNvSpPr/>
            <p:nvPr/>
          </p:nvSpPr>
          <p:spPr bwMode="auto">
            <a:xfrm rot="10800000">
              <a:off x="3419872" y="1770920"/>
              <a:ext cx="1872000" cy="383328"/>
            </a:xfrm>
            <a:prstGeom prst="triangle">
              <a:avLst/>
            </a:prstGeom>
            <a:solidFill>
              <a:srgbClr val="009950"/>
            </a:solidFill>
            <a:ln w="12700" cap="flat" cmpd="sng" algn="ctr">
              <a:solidFill>
                <a:srgbClr val="0099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36000" rIns="18000" bIns="36000" numCol="1" anchor="ctr" anchorCtr="1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Rettangolo 8"/>
          <p:cNvSpPr/>
          <p:nvPr/>
        </p:nvSpPr>
        <p:spPr>
          <a:xfrm>
            <a:off x="1519313" y="2175403"/>
            <a:ext cx="629304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2200" b="1" dirty="0" smtClean="0">
                <a:solidFill>
                  <a:schemeClr val="l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.r</a:t>
            </a:r>
            <a:r>
              <a:rPr lang="it-IT" sz="2200" b="1" dirty="0">
                <a:solidFill>
                  <a:schemeClr val="l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. 26/2015 </a:t>
            </a:r>
            <a:r>
              <a:rPr lang="it-IT" sz="2200" i="1" dirty="0">
                <a:solidFill>
                  <a:schemeClr val="l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“Manifattura</a:t>
            </a:r>
          </a:p>
          <a:p>
            <a:pPr algn="ctr"/>
            <a:r>
              <a:rPr lang="it-IT" sz="2200" i="1" dirty="0">
                <a:solidFill>
                  <a:schemeClr val="l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ffusa creativa e tecnologica 4.0</a:t>
            </a:r>
            <a:r>
              <a:rPr lang="it-IT" sz="2200" i="1" dirty="0" smtClean="0">
                <a:solidFill>
                  <a:schemeClr val="l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”</a:t>
            </a:r>
            <a:endParaRPr lang="it-IT" sz="2200" i="1" dirty="0">
              <a:solidFill>
                <a:schemeClr val="l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it-IT" sz="2200" i="1" dirty="0">
              <a:solidFill>
                <a:schemeClr val="l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1" name="Rettangolo 1"/>
          <p:cNvSpPr>
            <a:spLocks noChangeArrowheads="1"/>
          </p:cNvSpPr>
          <p:nvPr/>
        </p:nvSpPr>
        <p:spPr bwMode="auto">
          <a:xfrm>
            <a:off x="1012328" y="301741"/>
            <a:ext cx="727882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it-IT" altLang="it-IT" sz="2800" b="1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a Vision</a:t>
            </a:r>
            <a:endParaRPr lang="it-IT" altLang="it-IT" sz="2800" b="1" dirty="0">
              <a:solidFill>
                <a:srgbClr val="0075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2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it-IT" dirty="0">
                <a:solidFill>
                  <a:prstClr val="black"/>
                </a:solidFill>
              </a:rPr>
              <a:t>1</a:t>
            </a:r>
          </a:p>
        </p:txBody>
      </p:sp>
    </p:spTree>
    <p:extLst>
      <p:ext uri="{BB962C8B-B14F-4D97-AF65-F5344CB8AC3E}">
        <p14:creationId xmlns="" xmlns:p14="http://schemas.microsoft.com/office/powerpoint/2010/main" val="1717834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 txBox="1">
            <a:spLocks/>
          </p:cNvSpPr>
          <p:nvPr/>
        </p:nvSpPr>
        <p:spPr>
          <a:xfrm>
            <a:off x="453689" y="1988840"/>
            <a:ext cx="8229600" cy="15841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4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428028" y="712544"/>
            <a:ext cx="8392444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9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ontaminazione </a:t>
            </a: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tra digitalizzazione e processi produttivi </a:t>
            </a:r>
            <a:r>
              <a:rPr lang="it-IT" sz="19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tradizionali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per creare 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nuovi e competitivi modelli di business </a:t>
            </a:r>
            <a:endParaRPr lang="it-IT" sz="19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lvl="0" defTabSz="268288"/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	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(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es. </a:t>
            </a:r>
            <a:r>
              <a:rPr lang="it-IT" sz="1900" dirty="0" err="1">
                <a:latin typeface="Helvetica" panose="020B0604020202020204" pitchFamily="34" charset="0"/>
                <a:cs typeface="Helvetica" panose="020B0604020202020204" pitchFamily="34" charset="0"/>
              </a:rPr>
              <a:t>Digitaly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 di CNA e </a:t>
            </a:r>
            <a:r>
              <a:rPr lang="it-IT" sz="1900" dirty="0" err="1">
                <a:latin typeface="Helvetica" panose="020B0604020202020204" pitchFamily="34" charset="0"/>
                <a:cs typeface="Helvetica" panose="020B0604020202020204" pitchFamily="34" charset="0"/>
              </a:rPr>
              <a:t>FaberLab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 di </a:t>
            </a:r>
            <a:r>
              <a:rPr lang="it-IT" sz="1900" dirty="0" err="1">
                <a:latin typeface="Helvetica" panose="020B0604020202020204" pitchFamily="34" charset="0"/>
                <a:cs typeface="Helvetica" panose="020B0604020202020204" pitchFamily="34" charset="0"/>
              </a:rPr>
              <a:t>Confartigianto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sz="1900" dirty="0" err="1">
                <a:latin typeface="Helvetica" panose="020B0604020202020204" pitchFamily="34" charset="0"/>
                <a:cs typeface="Helvetica" panose="020B0604020202020204" pitchFamily="34" charset="0"/>
              </a:rPr>
              <a:t>ecc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)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V</a:t>
            </a:r>
            <a:r>
              <a:rPr lang="it-IT" sz="19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lorizzazione </a:t>
            </a: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delle filiere di eccellenza territoriali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, come fattori di sviluppo che integrano produzione, servizi e tecnologia attraverso la messa a sistema delle conoscenze e delle capacità professionali, anche mediante il coinvolgimento delle 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ssociazioni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9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ostenere </a:t>
            </a: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l’accesso al credito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, gli investimenti in innovazione di processo e di prodotto, favorire l’investimento privato, ampliando la sfera di interesse del venture capital e dell’</a:t>
            </a:r>
            <a:r>
              <a:rPr lang="it-IT" sz="1900" dirty="0" err="1">
                <a:latin typeface="Helvetica" panose="020B0604020202020204" pitchFamily="34" charset="0"/>
                <a:cs typeface="Helvetica" panose="020B0604020202020204" pitchFamily="34" charset="0"/>
              </a:rPr>
              <a:t>equity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, anche in </a:t>
            </a:r>
            <a:r>
              <a:rPr lang="it-IT" sz="1900" dirty="0" err="1">
                <a:latin typeface="Helvetica" panose="020B0604020202020204" pitchFamily="34" charset="0"/>
                <a:cs typeface="Helvetica" panose="020B0604020202020204" pitchFamily="34" charset="0"/>
              </a:rPr>
              <a:t>addizionalità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 con gli incentivi fiscali 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nazionali</a:t>
            </a:r>
            <a:endParaRPr lang="it-IT" sz="19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9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Promuovere partenariati pubblico-privati per 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ostenere 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la manifattura diffusa valorizzando i nuovi luoghi di lavoro e socializzazione, che contribuiscono anche a rivitalizzare il territorio e a rilanciare aree dismesse o immobili sottoutilizzati  (</a:t>
            </a:r>
            <a:r>
              <a:rPr lang="it-IT" sz="1900" dirty="0" err="1">
                <a:latin typeface="Helvetica" panose="020B0604020202020204" pitchFamily="34" charset="0"/>
                <a:cs typeface="Helvetica" panose="020B0604020202020204" pitchFamily="34" charset="0"/>
              </a:rPr>
              <a:t>Fab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 Lab, </a:t>
            </a:r>
            <a:r>
              <a:rPr lang="it-IT" sz="1900" dirty="0" err="1">
                <a:latin typeface="Helvetica" panose="020B0604020202020204" pitchFamily="34" charset="0"/>
                <a:cs typeface="Helvetica" panose="020B0604020202020204" pitchFamily="34" charset="0"/>
              </a:rPr>
              <a:t>Hub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 dell’innovazione </a:t>
            </a:r>
            <a:r>
              <a:rPr lang="it-IT" sz="1900" dirty="0" err="1">
                <a:latin typeface="Helvetica" panose="020B0604020202020204" pitchFamily="34" charset="0"/>
                <a:cs typeface="Helvetica" panose="020B0604020202020204" pitchFamily="34" charset="0"/>
              </a:rPr>
              <a:t>ecc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)</a:t>
            </a:r>
            <a:endParaRPr lang="it-IT" sz="19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F</a:t>
            </a:r>
            <a:r>
              <a:rPr lang="it-IT" sz="19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vorire </a:t>
            </a: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la continuità d’impresa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, il passaggio generazionale e la competitività attraverso la ricerca e l’innovazione, 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perimentando</a:t>
            </a:r>
          </a:p>
          <a:p>
            <a:pPr lvl="0" indent="268288"/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nuovi percorsi 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formativi</a:t>
            </a:r>
            <a:endParaRPr lang="it-IT" sz="19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Rettangolo 1"/>
          <p:cNvSpPr>
            <a:spLocks noChangeArrowheads="1"/>
          </p:cNvSpPr>
          <p:nvPr/>
        </p:nvSpPr>
        <p:spPr bwMode="auto">
          <a:xfrm>
            <a:off x="1012328" y="285413"/>
            <a:ext cx="727882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it-IT" altLang="it-IT" sz="2600" b="1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ombardia 5.0: linee di intervento</a:t>
            </a:r>
            <a:endParaRPr lang="it-IT" altLang="it-IT" sz="2600" b="1" dirty="0">
              <a:solidFill>
                <a:srgbClr val="0075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Segnaposto numero diapositiva 1"/>
          <p:cNvSpPr txBox="1">
            <a:spLocks/>
          </p:cNvSpPr>
          <p:nvPr/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dirty="0">
                <a:solidFill>
                  <a:prstClr val="black"/>
                </a:solidFill>
              </a:rPr>
              <a:t>2</a:t>
            </a:r>
          </a:p>
        </p:txBody>
      </p:sp>
    </p:spTree>
    <p:extLst>
      <p:ext uri="{BB962C8B-B14F-4D97-AF65-F5344CB8AC3E}">
        <p14:creationId xmlns="" xmlns:p14="http://schemas.microsoft.com/office/powerpoint/2010/main" val="2446517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 txBox="1">
            <a:spLocks/>
          </p:cNvSpPr>
          <p:nvPr/>
        </p:nvSpPr>
        <p:spPr>
          <a:xfrm>
            <a:off x="453689" y="1988840"/>
            <a:ext cx="8229600" cy="15841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4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Rettangolo 1"/>
          <p:cNvSpPr>
            <a:spLocks noChangeArrowheads="1"/>
          </p:cNvSpPr>
          <p:nvPr/>
        </p:nvSpPr>
        <p:spPr bwMode="auto">
          <a:xfrm>
            <a:off x="929077" y="286669"/>
            <a:ext cx="727882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it-IT" altLang="it-IT" sz="2600" b="1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ombardia 5.0: attuazione</a:t>
            </a:r>
            <a:endParaRPr lang="it-IT" altLang="it-IT" sz="2600" b="1" dirty="0">
              <a:solidFill>
                <a:srgbClr val="0075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2761350" y="721340"/>
            <a:ext cx="475252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6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Bando Smart Living </a:t>
            </a:r>
          </a:p>
        </p:txBody>
      </p:sp>
      <p:grpSp>
        <p:nvGrpSpPr>
          <p:cNvPr id="12" name="Gruppo 11"/>
          <p:cNvGrpSpPr/>
          <p:nvPr/>
        </p:nvGrpSpPr>
        <p:grpSpPr>
          <a:xfrm>
            <a:off x="690880" y="1297397"/>
            <a:ext cx="7841560" cy="1373286"/>
            <a:chOff x="690880" y="1223911"/>
            <a:chExt cx="7752080" cy="1373286"/>
          </a:xfrm>
        </p:grpSpPr>
        <p:sp>
          <p:nvSpPr>
            <p:cNvPr id="13" name="Titolo 1"/>
            <p:cNvSpPr txBox="1">
              <a:spLocks/>
            </p:cNvSpPr>
            <p:nvPr/>
          </p:nvSpPr>
          <p:spPr>
            <a:xfrm>
              <a:off x="690880" y="1223911"/>
              <a:ext cx="7752080" cy="1075944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28575">
              <a:solidFill>
                <a:schemeClr val="accent3">
                  <a:lumMod val="50000"/>
                </a:schemeClr>
              </a:solidFill>
            </a:ln>
          </p:spPr>
          <p:txBody>
            <a:bodyPr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it-IT" sz="22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Dotazione finanziaria complessiva - Delibera n. 5520 del 2 agosto  2016 </a:t>
              </a:r>
              <a:endParaRPr lang="it-IT" sz="22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" name="Segnaposto contenuto 2"/>
            <p:cNvSpPr txBox="1">
              <a:spLocks/>
            </p:cNvSpPr>
            <p:nvPr/>
          </p:nvSpPr>
          <p:spPr>
            <a:xfrm>
              <a:off x="1403648" y="2059624"/>
              <a:ext cx="6336704" cy="537573"/>
            </a:xfrm>
            <a:prstGeom prst="rect">
              <a:avLst/>
            </a:prstGeom>
            <a:solidFill>
              <a:srgbClr val="007500"/>
            </a:solidFill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/>
                <a:buNone/>
              </a:pPr>
              <a:r>
                <a:rPr lang="it-IT" sz="28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€ 15.000.000 a fondo perduto </a:t>
              </a:r>
              <a:endParaRPr lang="it-IT" sz="28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sp>
        <p:nvSpPr>
          <p:cNvPr id="2" name="Rettangolo 1"/>
          <p:cNvSpPr/>
          <p:nvPr/>
        </p:nvSpPr>
        <p:spPr>
          <a:xfrm>
            <a:off x="395536" y="2779568"/>
            <a:ext cx="842493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aratteristiche ed entità dell’agevolazione:</a:t>
            </a:r>
            <a:r>
              <a:rPr lang="it-IT" sz="2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max</a:t>
            </a:r>
            <a:r>
              <a:rPr lang="it-IT" sz="2000" dirty="0">
                <a:latin typeface="Helvetica" panose="020B0604020202020204" pitchFamily="34" charset="0"/>
                <a:cs typeface="Helvetica" panose="020B0604020202020204" pitchFamily="34" charset="0"/>
              </a:rPr>
              <a:t>. €</a:t>
            </a:r>
            <a:r>
              <a:rPr lang="it-IT" sz="2000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sz="2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800.000 </a:t>
            </a:r>
            <a:r>
              <a:rPr lang="it-IT" sz="2000" dirty="0">
                <a:latin typeface="Helvetica" panose="020B0604020202020204" pitchFamily="34" charset="0"/>
                <a:cs typeface="Helvetica" panose="020B0604020202020204" pitchFamily="34" charset="0"/>
              </a:rPr>
              <a:t>per </a:t>
            </a:r>
            <a:r>
              <a:rPr lang="it-IT" sz="2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ggregazio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investimento per partenariato pari o superiore ad </a:t>
            </a:r>
            <a:r>
              <a:rPr lang="it-IT" sz="2000" dirty="0">
                <a:latin typeface="Helvetica" panose="020B0604020202020204" pitchFamily="34" charset="0"/>
                <a:cs typeface="Helvetica" panose="020B0604020202020204" pitchFamily="34" charset="0"/>
              </a:rPr>
              <a:t>€ </a:t>
            </a:r>
            <a:r>
              <a:rPr lang="it-IT" sz="2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200.000</a:t>
            </a:r>
          </a:p>
          <a:p>
            <a:pPr algn="just"/>
            <a:r>
              <a:rPr lang="it-IT" dirty="0" smtClean="0"/>
              <a:t> </a:t>
            </a:r>
            <a:endParaRPr lang="it-IT" dirty="0"/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388742983"/>
              </p:ext>
            </p:extLst>
          </p:nvPr>
        </p:nvGraphicFramePr>
        <p:xfrm>
          <a:off x="426773" y="3825456"/>
          <a:ext cx="8105666" cy="2100268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4626715"/>
                <a:gridCol w="1159110"/>
                <a:gridCol w="1159110"/>
                <a:gridCol w="1160731"/>
              </a:tblGrid>
              <a:tr h="502998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800" kern="150" dirty="0">
                          <a:effectLst/>
                        </a:rPr>
                        <a:t>Tipologia di Attività</a:t>
                      </a:r>
                      <a:endParaRPr lang="it-IT" sz="1800" kern="1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800" kern="150" dirty="0">
                          <a:effectLst/>
                        </a:rPr>
                        <a:t>PMI</a:t>
                      </a:r>
                      <a:endParaRPr lang="it-IT" sz="1800" kern="1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800" kern="150" dirty="0">
                          <a:effectLst/>
                        </a:rPr>
                        <a:t>Grande Impresa</a:t>
                      </a:r>
                      <a:endParaRPr lang="it-IT" sz="1800" kern="1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800" kern="150" dirty="0">
                          <a:effectLst/>
                        </a:rPr>
                        <a:t>Università</a:t>
                      </a:r>
                      <a:endParaRPr lang="it-IT" sz="1800" kern="1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</a:tr>
              <a:tr h="454250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800" kern="150" dirty="0">
                          <a:effectLst/>
                        </a:rPr>
                        <a:t>Sviluppo </a:t>
                      </a:r>
                      <a:r>
                        <a:rPr lang="it-IT" sz="1800" kern="150" dirty="0" smtClean="0">
                          <a:effectLst/>
                        </a:rPr>
                        <a:t>sperimentale   </a:t>
                      </a:r>
                      <a:r>
                        <a:rPr lang="it-IT" sz="1800" kern="150" dirty="0" smtClean="0">
                          <a:solidFill>
                            <a:schemeClr val="tx1"/>
                          </a:solidFill>
                          <a:effectLst/>
                        </a:rPr>
                        <a:t>OBBLIGATORIO</a:t>
                      </a:r>
                      <a:endParaRPr lang="it-IT" sz="1800" b="1" kern="15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kern="150" dirty="0">
                          <a:effectLst/>
                        </a:rPr>
                        <a:t>40%</a:t>
                      </a:r>
                      <a:endParaRPr lang="it-IT" sz="1600" kern="150" dirty="0">
                        <a:effectLst/>
                        <a:latin typeface="Helvetica" panose="020B0604020202020204" pitchFamily="34" charset="0"/>
                        <a:ea typeface="Calibri" panose="020F0502020204030204" pitchFamily="34" charset="0"/>
                        <a:cs typeface="Helvetica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kern="150" dirty="0">
                          <a:effectLst/>
                        </a:rPr>
                        <a:t>40%</a:t>
                      </a:r>
                      <a:endParaRPr lang="it-IT" sz="1600" kern="150" dirty="0">
                        <a:effectLst/>
                        <a:latin typeface="Helvetica" panose="020B0604020202020204" pitchFamily="34" charset="0"/>
                        <a:ea typeface="Calibri" panose="020F0502020204030204" pitchFamily="34" charset="0"/>
                        <a:cs typeface="Helvetica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kern="150" dirty="0">
                          <a:effectLst/>
                        </a:rPr>
                        <a:t>40%</a:t>
                      </a:r>
                      <a:endParaRPr lang="it-IT" sz="1600" kern="150" dirty="0">
                        <a:effectLst/>
                        <a:latin typeface="Helvetica" panose="020B0604020202020204" pitchFamily="34" charset="0"/>
                        <a:ea typeface="Calibri" panose="020F0502020204030204" pitchFamily="34" charset="0"/>
                        <a:cs typeface="Helvetica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454250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800" kern="150" dirty="0">
                          <a:effectLst/>
                        </a:rPr>
                        <a:t>Innovazione dei processi e dell’organizzazione </a:t>
                      </a:r>
                      <a:endParaRPr lang="it-IT" sz="1800" b="1" kern="15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kern="150" dirty="0">
                          <a:effectLst/>
                        </a:rPr>
                        <a:t>50%</a:t>
                      </a:r>
                      <a:endParaRPr lang="it-IT" sz="1600" kern="150" dirty="0">
                        <a:effectLst/>
                        <a:latin typeface="Helvetica" panose="020B0604020202020204" pitchFamily="34" charset="0"/>
                        <a:ea typeface="Calibri" panose="020F0502020204030204" pitchFamily="34" charset="0"/>
                        <a:cs typeface="Helvetica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kern="150" dirty="0">
                          <a:effectLst/>
                        </a:rPr>
                        <a:t>15%</a:t>
                      </a:r>
                      <a:endParaRPr lang="it-IT" sz="1600" kern="150" dirty="0">
                        <a:effectLst/>
                        <a:latin typeface="Helvetica" panose="020B0604020202020204" pitchFamily="34" charset="0"/>
                        <a:ea typeface="Calibri" panose="020F0502020204030204" pitchFamily="34" charset="0"/>
                        <a:cs typeface="Helvetica" panose="020B0604020202020204" pitchFamily="34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kern="150" dirty="0">
                          <a:effectLst/>
                        </a:rPr>
                        <a:t> </a:t>
                      </a:r>
                    </a:p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kern="150" dirty="0">
                          <a:effectLst/>
                        </a:rPr>
                        <a:t>Non applicabile</a:t>
                      </a:r>
                      <a:endParaRPr lang="it-IT" sz="1600" kern="150" dirty="0">
                        <a:effectLst/>
                        <a:latin typeface="Helvetica" panose="020B0604020202020204" pitchFamily="34" charset="0"/>
                        <a:ea typeface="Calibri" panose="020F0502020204030204" pitchFamily="34" charset="0"/>
                        <a:cs typeface="Helvetica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502998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800" kern="150" dirty="0">
                          <a:effectLst/>
                        </a:rPr>
                        <a:t>Innovazione di prodotto</a:t>
                      </a:r>
                      <a:endParaRPr lang="it-IT" sz="1800" b="1" kern="15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kern="150" dirty="0">
                          <a:effectLst/>
                        </a:rPr>
                        <a:t>200.000€ nel </a:t>
                      </a:r>
                      <a:r>
                        <a:rPr lang="it-IT" sz="1600" kern="150" dirty="0" smtClean="0">
                          <a:effectLst/>
                        </a:rPr>
                        <a:t>triennio</a:t>
                      </a:r>
                      <a:endParaRPr lang="it-IT" sz="1600" kern="150" dirty="0">
                        <a:effectLst/>
                        <a:latin typeface="Helvetica" panose="020B0604020202020204" pitchFamily="34" charset="0"/>
                        <a:ea typeface="Calibri" panose="020F0502020204030204" pitchFamily="34" charset="0"/>
                        <a:cs typeface="Helvetica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kern="150" dirty="0">
                          <a:effectLst/>
                        </a:rPr>
                        <a:t>200.000€ nel triennio</a:t>
                      </a:r>
                      <a:endParaRPr lang="it-IT" sz="1600" kern="150" dirty="0">
                        <a:effectLst/>
                        <a:latin typeface="Helvetica" panose="020B0604020202020204" pitchFamily="34" charset="0"/>
                        <a:ea typeface="Calibri" panose="020F0502020204030204" pitchFamily="34" charset="0"/>
                        <a:cs typeface="Helvetica" panose="020B0604020202020204" pitchFamily="34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62208" y="4437461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16" name="Segnaposto numero diapositiva 1"/>
          <p:cNvSpPr txBox="1">
            <a:spLocks/>
          </p:cNvSpPr>
          <p:nvPr/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dirty="0">
                <a:solidFill>
                  <a:prstClr val="black"/>
                </a:solidFill>
              </a:rPr>
              <a:t>3</a:t>
            </a:r>
          </a:p>
        </p:txBody>
      </p:sp>
    </p:spTree>
    <p:extLst>
      <p:ext uri="{BB962C8B-B14F-4D97-AF65-F5344CB8AC3E}">
        <p14:creationId xmlns="" xmlns:p14="http://schemas.microsoft.com/office/powerpoint/2010/main" val="2235282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BF3F-0FD9-4CF6-9474-F6E7C1773FC9}" type="slidenum">
              <a:rPr lang="it-IT" smtClean="0">
                <a:solidFill>
                  <a:prstClr val="black"/>
                </a:solidFill>
              </a:rPr>
              <a:pPr/>
              <a:t>5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467544" y="764704"/>
            <a:ext cx="8392444" cy="4370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it-IT" sz="2000" b="1" dirty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GIME DI AIUTO</a:t>
            </a:r>
          </a:p>
          <a:p>
            <a:pPr>
              <a:spcBef>
                <a:spcPts val="600"/>
              </a:spcBef>
            </a:pPr>
            <a:endParaRPr lang="it-IT" sz="19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Le 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Agevolazioni previste dal 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Bando 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sono concesse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:</a:t>
            </a:r>
          </a:p>
          <a:p>
            <a:pPr>
              <a:spcBef>
                <a:spcPts val="600"/>
              </a:spcBef>
            </a:pPr>
            <a:endParaRPr lang="it-IT" sz="19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per le </a:t>
            </a: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attività di Sviluppo sperimentale ed Innovazione dei processi e dell’organizzazione 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ai sensi rispettivamente dell’art. 25 commi 5 e 6 e dell’art. 29 del Regolamento (UE) n. 651/2014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;</a:t>
            </a:r>
          </a:p>
          <a:p>
            <a:pPr lvl="0">
              <a:spcBef>
                <a:spcPts val="600"/>
              </a:spcBef>
            </a:pPr>
            <a:endParaRPr lang="it-IT" sz="19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per le </a:t>
            </a: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attività di Innovazione di prodotto 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il 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Regolamento (UE) n. 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1407/2013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sz="19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abilisce che 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l’importo complessivo degli </a:t>
            </a: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aiuti de </a:t>
            </a:r>
            <a:r>
              <a:rPr lang="it-IT" sz="1900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minimis</a:t>
            </a:r>
            <a:r>
              <a:rPr lang="it-IT" sz="1900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sz="1900" dirty="0">
                <a:latin typeface="Helvetica" panose="020B0604020202020204" pitchFamily="34" charset="0"/>
                <a:cs typeface="Helvetica" panose="020B0604020202020204" pitchFamily="34" charset="0"/>
              </a:rPr>
              <a:t>concessi da uno Stato membro a un’impresa unica non possa superare 200.000 Euro nell’arco di tre esercizi finanziari e 100.000 Euro per il settore del trasporto merci per conto terzi, nell’ultimo triennio (art. 3.2). </a:t>
            </a:r>
            <a:endParaRPr lang="it-IT" sz="19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529837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 txBox="1">
            <a:spLocks/>
          </p:cNvSpPr>
          <p:nvPr/>
        </p:nvSpPr>
        <p:spPr>
          <a:xfrm>
            <a:off x="453689" y="1988840"/>
            <a:ext cx="8229600" cy="15841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4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450193" y="305249"/>
            <a:ext cx="8251026" cy="7294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OBIETTIVI</a:t>
            </a:r>
          </a:p>
          <a:p>
            <a:pPr marL="0" lvl="1" algn="just">
              <a:defRPr/>
            </a:pPr>
            <a:r>
              <a:rPr lang="it-IT" sz="2100" dirty="0">
                <a:latin typeface="Helvetica" panose="020B0604020202020204" pitchFamily="34" charset="0"/>
                <a:cs typeface="Helvetica" panose="020B0604020202020204" pitchFamily="34" charset="0"/>
              </a:rPr>
              <a:t>Sostenere la filiera denominata «Smart Living» che integra produzioni, servizi e tecnologia riconducibili ai settori </a:t>
            </a:r>
            <a:r>
              <a:rPr lang="it-IT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Edilizia, Legno Arredo Casa, Elettrodomestici e High-tech </a:t>
            </a:r>
          </a:p>
          <a:p>
            <a:pPr marL="0" lvl="1" indent="-457200" algn="just">
              <a:spcBef>
                <a:spcPts val="1200"/>
              </a:spcBef>
              <a:defRPr/>
            </a:pPr>
            <a:r>
              <a:rPr lang="it-IT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DESTINATARI</a:t>
            </a:r>
          </a:p>
          <a:p>
            <a:pPr marL="0" lvl="1" algn="just">
              <a:defRPr/>
            </a:pPr>
            <a:r>
              <a:rPr lang="it-IT" sz="2100" dirty="0">
                <a:latin typeface="Helvetica" panose="020B0604020202020204" pitchFamily="34" charset="0"/>
                <a:cs typeface="Helvetica" panose="020B0604020202020204" pitchFamily="34" charset="0"/>
              </a:rPr>
              <a:t>Aggregazioni</a:t>
            </a:r>
            <a:r>
              <a:rPr lang="it-IT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sz="2100" dirty="0">
                <a:latin typeface="Helvetica" panose="020B0604020202020204" pitchFamily="34" charset="0"/>
                <a:cs typeface="Helvetica" panose="020B0604020202020204" pitchFamily="34" charset="0"/>
              </a:rPr>
              <a:t>riferite ai comparti Manufatturiero, Costruzioni, Commercio e Servizi  composte da almeno </a:t>
            </a:r>
            <a:r>
              <a:rPr lang="it-IT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tre soggetti di cui almeno due PMI </a:t>
            </a:r>
            <a:r>
              <a:rPr lang="it-IT" sz="2100" dirty="0">
                <a:latin typeface="Helvetica" panose="020B0604020202020204" pitchFamily="34" charset="0"/>
                <a:cs typeface="Helvetica" panose="020B0604020202020204" pitchFamily="34" charset="0"/>
              </a:rPr>
              <a:t>ed un soggetto a scelta tra Università e Grandi </a:t>
            </a:r>
            <a:r>
              <a:rPr lang="it-IT" sz="21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imprese</a:t>
            </a:r>
          </a:p>
          <a:p>
            <a:pPr marL="0" lvl="1" algn="just">
              <a:spcBef>
                <a:spcPts val="1200"/>
              </a:spcBef>
              <a:defRPr/>
            </a:pPr>
            <a:r>
              <a:rPr lang="it-IT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FORMALIZZAZIONE DEL </a:t>
            </a:r>
            <a:r>
              <a:rPr lang="it-IT" sz="21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PARTENARIATO</a:t>
            </a:r>
          </a:p>
          <a:p>
            <a:pPr lvl="0"/>
            <a:r>
              <a:rPr lang="en-US" sz="21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ccordo</a:t>
            </a:r>
            <a:r>
              <a:rPr lang="en-US" sz="21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1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di Collaborazione</a:t>
            </a:r>
            <a:endParaRPr lang="it-IT" sz="21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it-IT" sz="21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PROCEDURA ISTRUTTORIA</a:t>
            </a:r>
          </a:p>
          <a:p>
            <a:pPr marL="0" lvl="1" algn="just">
              <a:defRPr/>
            </a:pPr>
            <a:r>
              <a:rPr lang="it-IT" sz="21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Valutativa a sportello</a:t>
            </a:r>
            <a:endParaRPr lang="it-IT" sz="21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lvl="1" algn="just">
              <a:spcBef>
                <a:spcPts val="1200"/>
              </a:spcBef>
              <a:defRPr/>
            </a:pPr>
            <a:r>
              <a:rPr lang="it-IT" sz="21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DURATA DEI PROGETTI</a:t>
            </a:r>
          </a:p>
          <a:p>
            <a:pPr lvl="1" indent="-457200" algn="just">
              <a:defRPr/>
            </a:pPr>
            <a:r>
              <a:rPr lang="it-IT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m</a:t>
            </a:r>
            <a:r>
              <a:rPr lang="it-IT" sz="21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x. 18 mesi </a:t>
            </a:r>
            <a:r>
              <a:rPr lang="it-IT" sz="21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dal decreto di concessione del contributo</a:t>
            </a:r>
          </a:p>
          <a:p>
            <a:pPr lvl="1" indent="-457200" algn="just">
              <a:spcBef>
                <a:spcPts val="1200"/>
              </a:spcBef>
              <a:defRPr/>
            </a:pPr>
            <a:r>
              <a:rPr lang="it-IT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AMBITO TERRITORIALE DI </a:t>
            </a:r>
            <a:r>
              <a:rPr lang="it-IT" sz="21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RIFERIMENTO</a:t>
            </a:r>
          </a:p>
          <a:p>
            <a:pPr lvl="1" indent="-457200" algn="just">
              <a:defRPr/>
            </a:pPr>
            <a:r>
              <a:rPr lang="it-IT" sz="21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Regione Lombardia</a:t>
            </a:r>
            <a:endParaRPr lang="it-IT" sz="21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lvl="1" indent="-457200" algn="just">
              <a:defRPr/>
            </a:pPr>
            <a:endParaRPr lang="it-IT" sz="22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lvl="1" indent="-457200" algn="just">
              <a:defRPr/>
            </a:pPr>
            <a:endParaRPr lang="it-IT" sz="22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it-IT" dirty="0">
                <a:solidFill>
                  <a:prstClr val="black"/>
                </a:solidFill>
              </a:rPr>
              <a:t>4</a:t>
            </a:r>
          </a:p>
        </p:txBody>
      </p:sp>
    </p:spTree>
    <p:extLst>
      <p:ext uri="{BB962C8B-B14F-4D97-AF65-F5344CB8AC3E}">
        <p14:creationId xmlns="" xmlns:p14="http://schemas.microsoft.com/office/powerpoint/2010/main" val="1685985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 txBox="1">
            <a:spLocks/>
          </p:cNvSpPr>
          <p:nvPr/>
        </p:nvSpPr>
        <p:spPr>
          <a:xfrm>
            <a:off x="453689" y="1988840"/>
            <a:ext cx="8229600" cy="15841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4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395536" y="332656"/>
            <a:ext cx="8251026" cy="64017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it-IT" sz="2000" b="1" dirty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TERVENTI AMMISSIBILI</a:t>
            </a:r>
          </a:p>
          <a:p>
            <a:pPr marL="179388" lvl="0" indent="-179388" algn="just">
              <a:lnSpc>
                <a:spcPct val="115000"/>
              </a:lnSpc>
              <a:spcAft>
                <a:spcPts val="0"/>
              </a:spcAft>
              <a:buSzPts val="1000"/>
              <a:buFont typeface="Arial" panose="020B0604020202020204" pitchFamily="34" charset="0"/>
              <a:buChar char="•"/>
            </a:pPr>
            <a:r>
              <a:rPr lang="en-US" sz="16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mpatto 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cologic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in ogni singola fase del ciclo di vita dei prodotti: produzione, gestione, </a:t>
            </a:r>
            <a:r>
              <a:rPr lang="en-US" sz="16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ecupero;</a:t>
            </a:r>
          </a:p>
          <a:p>
            <a:pPr marL="179388" lvl="0" indent="-179388" algn="just">
              <a:lnSpc>
                <a:spcPct val="115000"/>
              </a:lnSpc>
              <a:spcAft>
                <a:spcPts val="0"/>
              </a:spcAft>
              <a:buSzPts val="1000"/>
              <a:buFont typeface="Arial" panose="020B0604020202020204" pitchFamily="34" charset="0"/>
              <a:buChar char="•"/>
            </a:pPr>
            <a:r>
              <a:rPr lang="en-US" sz="16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Valore 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nergetico-funzionale 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 nuovi materiali riciclati e riciclabili, per ideare e produrre oggetti/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obil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design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ostenibil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per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’arred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ll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casa (eco-design</a:t>
            </a:r>
            <a:r>
              <a:rPr lang="en-US" sz="16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);</a:t>
            </a:r>
            <a:endParaRPr lang="it-IT" sz="16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lvl="0" indent="-179388" algn="just">
              <a:lnSpc>
                <a:spcPct val="115000"/>
              </a:lnSpc>
              <a:spcAft>
                <a:spcPts val="0"/>
              </a:spcAft>
              <a:buSzPts val="1000"/>
              <a:buFont typeface="Arial" panose="020B0604020202020204" pitchFamily="34" charset="0"/>
              <a:buChar char="•"/>
            </a:pP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mart Supply Chain 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iliera integrata di processi/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odell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business e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duttiv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nch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hiave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xport;</a:t>
            </a:r>
            <a:endParaRPr lang="it-IT" sz="1600" b="1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lvl="0" indent="-179388" algn="just">
              <a:lnSpc>
                <a:spcPct val="115000"/>
              </a:lnSpc>
              <a:spcAft>
                <a:spcPts val="0"/>
              </a:spcAft>
              <a:buSzPts val="1000"/>
              <a:buFont typeface="Arial" panose="020B0604020202020204" pitchFamily="34" charset="0"/>
              <a:buChar char="•"/>
            </a:pP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oluzion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screening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nergetico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ismico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gl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difici</a:t>
            </a:r>
            <a:r>
              <a:rPr lang="en-US" sz="16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;</a:t>
            </a:r>
            <a:endParaRPr lang="it-IT" sz="16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lvl="0" indent="-179388" algn="just">
              <a:lnSpc>
                <a:spcPct val="115000"/>
              </a:lnSpc>
              <a:spcAft>
                <a:spcPts val="0"/>
              </a:spcAft>
              <a:buSzPts val="1000"/>
              <a:buFont typeface="Arial" panose="020B0604020202020204" pitchFamily="34" charset="0"/>
              <a:buChar char="•"/>
            </a:pP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laborazion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mplementazion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odell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novativ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tervent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ul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atrimonio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dilizio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sistente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: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deguament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ismic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recupero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dilizi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iqualificazion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nergetic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/o </a:t>
            </a:r>
            <a:r>
              <a:rPr lang="en-US" sz="16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trutturale</a:t>
            </a:r>
            <a:r>
              <a:rPr lang="en-US" sz="16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;</a:t>
            </a:r>
            <a:endParaRPr lang="it-IT" sz="16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lvl="0" indent="-179388" algn="just">
              <a:lnSpc>
                <a:spcPct val="115000"/>
              </a:lnSpc>
              <a:spcAft>
                <a:spcPts val="0"/>
              </a:spcAft>
              <a:buSzPts val="1000"/>
              <a:buFont typeface="Arial" panose="020B0604020202020204" pitchFamily="34" charset="0"/>
              <a:buChar char="•"/>
            </a:pPr>
            <a:r>
              <a:rPr lang="en-US" sz="1600" b="1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omotic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nch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inalizzat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a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avorir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’autonomi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’accessibilità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upporto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ei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ervizi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lla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persona,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l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wi-f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la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ensoristic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vanzat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(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oT</a:t>
            </a:r>
            <a:r>
              <a:rPr lang="en-US" sz="16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);</a:t>
            </a:r>
            <a:endParaRPr lang="it-IT" sz="16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lvl="0" indent="-179388" algn="just">
              <a:lnSpc>
                <a:spcPct val="115000"/>
              </a:lnSpc>
              <a:spcAft>
                <a:spcPts val="0"/>
              </a:spcAft>
              <a:buSzPts val="1000"/>
              <a:buFont typeface="Arial" panose="020B0604020202020204" pitchFamily="34" charset="0"/>
              <a:buChar char="•"/>
            </a:pP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</a:t>
            </a:r>
            <a:r>
              <a:rPr lang="en-US" sz="16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stemi</a:t>
            </a:r>
            <a:r>
              <a:rPr lang="en-US" sz="16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gettazion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virtual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con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articolar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iferiment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l Building Information Modelling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di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totipazion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vanzat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di home &amp; building </a:t>
            </a:r>
            <a:r>
              <a:rPr lang="en-US" sz="16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utomation;  </a:t>
            </a:r>
            <a:endParaRPr lang="it-IT" sz="16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lvl="0" indent="-179388" algn="just">
              <a:lnSpc>
                <a:spcPct val="115000"/>
              </a:lnSpc>
              <a:spcAft>
                <a:spcPts val="0"/>
              </a:spcAft>
              <a:buSzPts val="1000"/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B</a:t>
            </a:r>
            <a:r>
              <a:rPr lang="en-US" sz="16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g 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ata analysis, le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ecnich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telligenz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rtificial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“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istem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gnitiv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” e le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ecnologi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in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mbit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Cloud Computing, a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upport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lla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gestione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telligente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in tempo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eale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ei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ati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lle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formazioni</a:t>
            </a:r>
            <a:r>
              <a:rPr lang="en-US" sz="16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;</a:t>
            </a:r>
            <a:endParaRPr lang="it-IT" sz="1600" b="1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lvl="0" indent="-179388" algn="just">
              <a:lnSpc>
                <a:spcPct val="115000"/>
              </a:lnSpc>
              <a:spcAft>
                <a:spcPts val="0"/>
              </a:spcAft>
              <a:buSzPts val="1000"/>
              <a:buFont typeface="Arial" panose="020B0604020202020204" pitchFamily="34" charset="0"/>
              <a:buChar char="•"/>
            </a:pPr>
            <a:r>
              <a:rPr lang="en-US" sz="16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istemi</a:t>
            </a:r>
            <a:r>
              <a:rPr lang="en-US" sz="16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telligent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per la gestione,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’intrattenimento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l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onitoraggio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la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icurezza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gli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mpianti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ad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uso</a:t>
            </a:r>
            <a:r>
              <a:rPr lang="en-US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omestic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con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articolare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iferimento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gl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pparecch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lettrodomestic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bianch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/</a:t>
            </a:r>
            <a:r>
              <a:rPr lang="en-US" sz="16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bruni</a:t>
            </a:r>
            <a:r>
              <a:rPr lang="en-US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.</a:t>
            </a:r>
            <a:endParaRPr lang="it-IT" sz="16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lvl="1" indent="-179388" algn="just">
              <a:defRPr/>
            </a:pPr>
            <a:endParaRPr lang="it-IT" sz="16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it-IT" dirty="0">
                <a:solidFill>
                  <a:prstClr val="black"/>
                </a:solidFill>
              </a:rPr>
              <a:t>5</a:t>
            </a:r>
          </a:p>
        </p:txBody>
      </p:sp>
    </p:spTree>
    <p:extLst>
      <p:ext uri="{BB962C8B-B14F-4D97-AF65-F5344CB8AC3E}">
        <p14:creationId xmlns="" xmlns:p14="http://schemas.microsoft.com/office/powerpoint/2010/main" val="1988251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 txBox="1">
            <a:spLocks/>
          </p:cNvSpPr>
          <p:nvPr/>
        </p:nvSpPr>
        <p:spPr>
          <a:xfrm>
            <a:off x="395288" y="317500"/>
            <a:ext cx="82296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spcBef>
                <a:spcPct val="0"/>
              </a:spcBef>
              <a:buNone/>
              <a:defRPr sz="2400" b="1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it-IT" altLang="it-IT" sz="2800" dirty="0" smtClean="0"/>
              <a:t>Erogazioni</a:t>
            </a:r>
            <a:endParaRPr lang="it-IT" altLang="it-IT" sz="2800" dirty="0"/>
          </a:p>
        </p:txBody>
      </p:sp>
      <p:sp>
        <p:nvSpPr>
          <p:cNvPr id="5" name="Rettangolo 4"/>
          <p:cNvSpPr/>
          <p:nvPr/>
        </p:nvSpPr>
        <p:spPr>
          <a:xfrm>
            <a:off x="457200" y="1067904"/>
            <a:ext cx="8219256" cy="5032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L’erogazione avviene in due tranche: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it-IT" sz="2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40% a titolo di anticipo </a:t>
            </a:r>
          </a:p>
          <a:p>
            <a:pPr marL="719138" indent="-360363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en-US" sz="22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previo</a:t>
            </a:r>
            <a:r>
              <a:rPr lang="en-US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rilascio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di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fideiussion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(ad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eccezion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dell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Università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pubbliche</a:t>
            </a:r>
            <a:r>
              <a:rPr lang="en-US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)</a:t>
            </a:r>
          </a:p>
          <a:p>
            <a:pPr marL="700088" indent="-341313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2200" i="1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oppure</a:t>
            </a:r>
            <a:r>
              <a:rPr lang="en-US" sz="2200" i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erogazione</a:t>
            </a:r>
            <a:r>
              <a:rPr lang="en-US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del 40%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sulla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base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dello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stato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avanzamento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lavori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,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previa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presentazion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di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rendicontazion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dell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spes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sostenut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e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quietanzat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di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pari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importo</a:t>
            </a:r>
            <a:endParaRPr lang="it-IT" sz="2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342900" indent="-34290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it-IT" sz="2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econda tranche </a:t>
            </a:r>
            <a:r>
              <a:rPr lang="it-IT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</a:t>
            </a:r>
            <a:r>
              <a:rPr lang="it-IT" sz="2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saldo</a:t>
            </a:r>
            <a:r>
              <a:rPr lang="en-US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previa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presentazion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della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relazion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finale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sull’esito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del </a:t>
            </a:r>
            <a:r>
              <a:rPr lang="en-US" sz="22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Progetto</a:t>
            </a:r>
            <a:r>
              <a:rPr lang="en-US" sz="2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e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rendicontazion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finale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dell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spes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effettivament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sostenut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 e </a:t>
            </a:r>
            <a:r>
              <a:rPr lang="en-US" sz="2200" dirty="0" err="1">
                <a:latin typeface="Helvetica" panose="020B0604020202020204" pitchFamily="34" charset="0"/>
                <a:cs typeface="Helvetica" panose="020B0604020202020204" pitchFamily="34" charset="0"/>
              </a:rPr>
              <a:t>quietanzate</a:t>
            </a:r>
            <a:r>
              <a:rPr lang="en-US" sz="2200" dirty="0">
                <a:latin typeface="Helvetica" panose="020B0604020202020204" pitchFamily="34" charset="0"/>
                <a:cs typeface="Helvetica" panose="020B0604020202020204" pitchFamily="34" charset="0"/>
              </a:rPr>
              <a:t>.</a:t>
            </a:r>
            <a:endParaRPr lang="it-IT" sz="2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357188" indent="-357188" algn="just">
              <a:buFont typeface="Wingdings" panose="05000000000000000000" pitchFamily="2" charset="2"/>
              <a:buChar char="§"/>
            </a:pPr>
            <a:endParaRPr lang="it-IT" sz="22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357188" indent="-357188" algn="just">
              <a:buFont typeface="Wingdings" panose="05000000000000000000" pitchFamily="2" charset="2"/>
              <a:buChar char="§"/>
            </a:pPr>
            <a:endParaRPr lang="it-IT" sz="22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it-IT" dirty="0">
                <a:solidFill>
                  <a:prstClr val="black"/>
                </a:solidFill>
              </a:rPr>
              <a:t>6</a:t>
            </a:r>
          </a:p>
        </p:txBody>
      </p:sp>
    </p:spTree>
    <p:extLst>
      <p:ext uri="{BB962C8B-B14F-4D97-AF65-F5344CB8AC3E}">
        <p14:creationId xmlns="" xmlns:p14="http://schemas.microsoft.com/office/powerpoint/2010/main" val="2426352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 txBox="1">
            <a:spLocks/>
          </p:cNvSpPr>
          <p:nvPr/>
        </p:nvSpPr>
        <p:spPr>
          <a:xfrm>
            <a:off x="453689" y="1988840"/>
            <a:ext cx="8229600" cy="15841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4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395536" y="332656"/>
            <a:ext cx="8352928" cy="601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it-IT" sz="2000" b="1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IPOLOGIE </a:t>
            </a:r>
            <a:r>
              <a:rPr lang="it-IT" sz="2000" b="1" dirty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 SPESE </a:t>
            </a:r>
            <a:r>
              <a:rPr lang="it-IT" sz="2000" b="1" dirty="0" smtClean="0">
                <a:solidFill>
                  <a:srgbClr val="0075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MMISSIBILI</a:t>
            </a:r>
          </a:p>
          <a:p>
            <a:pPr lvl="0" algn="ctr">
              <a:defRPr/>
            </a:pPr>
            <a:endParaRPr lang="it-IT" sz="1000" b="1" dirty="0">
              <a:solidFill>
                <a:srgbClr val="0075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179388" indent="-179388" algn="just">
              <a:lnSpc>
                <a:spcPct val="115000"/>
              </a:lnSpc>
              <a:buSzPts val="1000"/>
              <a:buFont typeface="Arial" panose="020B0604020202020204" pitchFamily="34" charset="0"/>
              <a:buChar char="•"/>
            </a:pP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</a:t>
            </a:r>
            <a:r>
              <a:rPr lang="en-US" sz="1500" b="1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se</a:t>
            </a:r>
            <a:r>
              <a:rPr lang="en-US" sz="15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rsonale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elative a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icercator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ecnic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ltr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rsonal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usiliari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ell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isur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in cu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on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mpiega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per la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ealizzazion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el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getto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;</a:t>
            </a:r>
            <a:endParaRPr lang="it-IT" sz="15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indent="-179388" algn="just">
              <a:lnSpc>
                <a:spcPct val="115000"/>
              </a:lnSpc>
              <a:buSzPts val="1000"/>
              <a:buFont typeface="Arial" panose="020B0604020202020204" pitchFamily="34" charset="0"/>
              <a:buChar char="•"/>
            </a:pP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</a:t>
            </a:r>
            <a:r>
              <a:rPr lang="en-US" sz="1500" b="1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osti</a:t>
            </a:r>
            <a:r>
              <a:rPr lang="en-US" sz="15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mmortamento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elativi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d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mpian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acchinar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ttrezzatur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ell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isur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per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l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riod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in cu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on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utilizza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ell’ambit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el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gett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el</a:t>
            </a:r>
            <a:r>
              <a:rPr lang="en-US" sz="15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aso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ben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cquisit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in leasing,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on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mmissibil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anon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aga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all’utilizzator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al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ncedent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al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ett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ll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pes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ccessori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(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ass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argin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el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ncedent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teress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pes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general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oner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ssicurativ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)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ell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isur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per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l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riod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in cu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l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elativ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ben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è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utilizzat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per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l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getto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;</a:t>
            </a:r>
            <a:endParaRPr lang="it-IT" sz="15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indent="-179388" algn="just">
              <a:lnSpc>
                <a:spcPct val="115000"/>
              </a:lnSpc>
              <a:buSzPts val="1000"/>
              <a:buFont typeface="Arial" panose="020B0604020202020204" pitchFamily="34" charset="0"/>
              <a:buChar char="•"/>
            </a:pPr>
            <a:r>
              <a:rPr lang="en-US" sz="1500" b="1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sti</a:t>
            </a:r>
            <a:r>
              <a:rPr lang="en-US" sz="15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lla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icerca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ntrattual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le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noscenz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brevet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cquisi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o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ottenu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in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icenz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a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on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stern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ll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ormal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ndizion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ercat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onché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s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e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erviz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nsulenz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d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erviz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quivalen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utilizza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sclusivament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in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el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getto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;</a:t>
            </a:r>
            <a:endParaRPr lang="it-IT" sz="15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indent="-179388" algn="just">
              <a:lnSpc>
                <a:spcPct val="115000"/>
              </a:lnSpc>
              <a:buSzPts val="1000"/>
              <a:buFont typeface="Arial" panose="020B0604020202020204" pitchFamily="34" charset="0"/>
              <a:buChar char="•"/>
            </a:pP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tri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st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sercizi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rettament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nness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ll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ealizzazion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el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getto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clus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: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s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materiali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ornitur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e prodott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nalogh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le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pes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ertificazion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aboratorio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(per un Massimo del 20%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lle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pese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mpetenza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iascun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partner);</a:t>
            </a:r>
            <a:endParaRPr lang="it-IT" sz="15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indent="-179388" algn="just">
              <a:lnSpc>
                <a:spcPct val="115000"/>
              </a:lnSpc>
              <a:buSzPts val="1000"/>
              <a:buFont typeface="Arial" panose="020B0604020202020204" pitchFamily="34" charset="0"/>
              <a:buChar char="•"/>
            </a:pP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</a:t>
            </a:r>
            <a:r>
              <a:rPr lang="en-US" sz="1500" b="1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se</a:t>
            </a:r>
            <a:r>
              <a:rPr lang="en-US" sz="15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general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orfettarie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ddizional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rivan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rettament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al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gett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r 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un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assim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el 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15%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ll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pes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rsonale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iascun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artner;</a:t>
            </a:r>
            <a:endParaRPr lang="it-IT" sz="15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indent="-179388" algn="just">
              <a:lnSpc>
                <a:spcPct val="115000"/>
              </a:lnSpc>
              <a:buSzPts val="1000"/>
              <a:buFont typeface="Arial" panose="020B0604020202020204" pitchFamily="34" charset="0"/>
              <a:buChar char="•"/>
            </a:pP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</a:t>
            </a:r>
            <a:r>
              <a:rPr lang="en-US" sz="1500" b="1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udi</a:t>
            </a:r>
            <a:r>
              <a:rPr lang="en-US" sz="15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attibilità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per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’approccio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ll’export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 nuov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erca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,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mprensiv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ll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trutturazion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un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odell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ziendal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rete d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vendit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o post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vendita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el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aes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arget; </a:t>
            </a:r>
            <a:endParaRPr lang="it-IT" sz="15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indent="-179388" algn="just">
              <a:lnSpc>
                <a:spcPct val="115000"/>
              </a:lnSpc>
              <a:buSzPts val="1000"/>
              <a:buFont typeface="Arial" panose="020B0604020202020204" pitchFamily="34" charset="0"/>
              <a:buChar char="•"/>
            </a:pP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S</a:t>
            </a:r>
            <a:r>
              <a:rPr lang="en-US" sz="1500" b="1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rumenti</a:t>
            </a:r>
            <a:r>
              <a:rPr lang="en-US" sz="15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omunicazion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innovativ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unzional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ll’avvi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/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afforzament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ttività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export;</a:t>
            </a:r>
            <a:endParaRPr lang="it-IT" sz="15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indent="-179388" algn="just">
              <a:lnSpc>
                <a:spcPct val="115000"/>
              </a:lnSpc>
              <a:buSzPts val="1000"/>
              <a:buFont typeface="Arial" panose="020B0604020202020204" pitchFamily="34" charset="0"/>
              <a:buChar char="•"/>
            </a:pP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onseguimento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i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certificazion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stere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er prodotti da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romuovere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ne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ercati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target;</a:t>
            </a:r>
            <a:endParaRPr lang="it-IT" sz="15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9388" indent="-179388" algn="just">
              <a:lnSpc>
                <a:spcPct val="115000"/>
              </a:lnSpc>
              <a:buSzPts val="1000"/>
              <a:buFont typeface="Arial" panose="020B0604020202020204" pitchFamily="34" charset="0"/>
              <a:buChar char="•"/>
            </a:pP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</a:t>
            </a:r>
            <a:r>
              <a:rPr lang="en-US" sz="1500" dirty="0" err="1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aduzione</a:t>
            </a:r>
            <a:r>
              <a:rPr lang="en-US" sz="1500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ed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deguamento</a:t>
            </a:r>
            <a:r>
              <a:rPr lang="en-US" sz="15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di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manual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stinat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500" b="1" dirty="0" err="1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aesi</a:t>
            </a:r>
            <a:r>
              <a:rPr lang="en-US" sz="15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target</a:t>
            </a:r>
            <a:r>
              <a:rPr lang="en-US" sz="1500" b="1" dirty="0" smtClean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.</a:t>
            </a:r>
            <a:endParaRPr lang="it-IT" sz="1500" b="1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974904" y="6520259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it-IT" dirty="0">
                <a:solidFill>
                  <a:prstClr val="black"/>
                </a:solidFill>
              </a:rPr>
              <a:t>7</a:t>
            </a:r>
          </a:p>
        </p:txBody>
      </p:sp>
    </p:spTree>
    <p:extLst>
      <p:ext uri="{BB962C8B-B14F-4D97-AF65-F5344CB8AC3E}">
        <p14:creationId xmlns="" xmlns:p14="http://schemas.microsoft.com/office/powerpoint/2010/main" val="10785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vxPhIuZEmedTiIQLl9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vxPhIuZEmedTiIQLl9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vxPhIuZEmedTiIQLl9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vxPhIuZEmedTiIQLl9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vxPhIuZEmedTiIQLl9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vxPhIuZEmedTiIQLl9_w"/>
</p:tagLst>
</file>

<file path=ppt/theme/theme1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92</TotalTime>
  <Words>1225</Words>
  <Application>Microsoft Office PowerPoint</Application>
  <PresentationFormat>Presentazione su schermo (4:3)</PresentationFormat>
  <Paragraphs>145</Paragraphs>
  <Slides>12</Slides>
  <Notes>8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itoli diapositive</vt:lpstr>
      </vt:variant>
      <vt:variant>
        <vt:i4>12</vt:i4>
      </vt:variant>
    </vt:vector>
  </HeadingPairs>
  <TitlesOfParts>
    <vt:vector size="14" baseType="lpstr">
      <vt:lpstr>1_Tema di Office</vt:lpstr>
      <vt:lpstr>Personalizza struttura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Il bando è scaricabile dal sito  http://www.sviluppoeconomico.regione.lombardia.it</vt:lpstr>
    </vt:vector>
  </TitlesOfParts>
  <Company>Regione Lombardi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fessionisti: libero accesso ai fondi UE</dc:title>
  <dc:creator>Angela Santolini</dc:creator>
  <cp:lastModifiedBy>apastori</cp:lastModifiedBy>
  <cp:revision>355</cp:revision>
  <cp:lastPrinted>2016-02-19T17:21:39Z</cp:lastPrinted>
  <dcterms:created xsi:type="dcterms:W3CDTF">2016-02-04T08:03:05Z</dcterms:created>
  <dcterms:modified xsi:type="dcterms:W3CDTF">2016-11-30T16:22:11Z</dcterms:modified>
</cp:coreProperties>
</file>